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486" autoAdjust="0"/>
  </p:normalViewPr>
  <p:slideViewPr>
    <p:cSldViewPr>
      <p:cViewPr varScale="1">
        <p:scale>
          <a:sx n="105" d="100"/>
          <a:sy n="105" d="100"/>
        </p:scale>
        <p:origin x="-180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054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521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146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30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837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096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93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256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66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283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170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0238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89942-22C3-4D59-BD78-1C84D439850C}" type="datetimeFigureOut">
              <a:rPr lang="en-US" smtClean="0"/>
              <a:t>1/24/20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07C454-22DA-4736-AF4C-425B334EC4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16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974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/>
          <p:cNvPicPr/>
          <p:nvPr/>
        </p:nvPicPr>
        <p:blipFill>
          <a:blip r:embed="rId6"/>
          <a:stretch>
            <a:fillRect/>
          </a:stretch>
        </p:blipFill>
        <p:spPr>
          <a:xfrm>
            <a:off x="398000" y="429548"/>
            <a:ext cx="5254120" cy="3168353"/>
          </a:xfrm>
          <a:prstGeom prst="rect">
            <a:avLst/>
          </a:prstGeom>
        </p:spPr>
      </p:pic>
      <p:pic>
        <p:nvPicPr>
          <p:cNvPr id="27" name="Grafik 26"/>
          <p:cNvPicPr/>
          <p:nvPr/>
        </p:nvPicPr>
        <p:blipFill>
          <a:blip r:embed="rId7"/>
          <a:stretch>
            <a:fillRect/>
          </a:stretch>
        </p:blipFill>
        <p:spPr>
          <a:xfrm>
            <a:off x="611561" y="3579539"/>
            <a:ext cx="4968551" cy="3089821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1031521" y="764703"/>
            <a:ext cx="14125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Andreas 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Kircher AP01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178679" y="2717068"/>
            <a:ext cx="13937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Jürgen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Horsch AP06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450248" y="746336"/>
            <a:ext cx="14343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Sören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Tetzner AP02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3863102" y="746337"/>
            <a:ext cx="16450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Stefan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Michaelis AP03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4718939" y="2737109"/>
            <a:ext cx="13213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Martina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Radke AP04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1063479" y="5742109"/>
            <a:ext cx="14045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Rudolf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Fischer AP12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396019" y="5722896"/>
            <a:ext cx="16433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Lukas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Reckebeil AP11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4181044" y="5742109"/>
            <a:ext cx="13708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Holger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Seguin AP10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2366090" y="3040234"/>
            <a:ext cx="15860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Ulrich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Schröder AP05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298481" y="3665743"/>
            <a:ext cx="14141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Fabian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Beusch AP07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696815" y="3665744"/>
            <a:ext cx="12650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Miriam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Mohr AP09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2507755" y="3575818"/>
            <a:ext cx="14532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FF0000"/>
                </a:solidFill>
              </a:rPr>
              <a:t>Jens</a:t>
            </a:r>
          </a:p>
          <a:p>
            <a:pPr algn="ctr"/>
            <a:r>
              <a:rPr lang="de-DE" b="1" dirty="0" smtClean="0">
                <a:solidFill>
                  <a:srgbClr val="FF0000"/>
                </a:solidFill>
              </a:rPr>
              <a:t>Greiner AP08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763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</Words>
  <Application>Microsoft Office PowerPoint</Application>
  <PresentationFormat>Bildschirmpräsentation (4:3)</PresentationFormat>
  <Paragraphs>24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Larissa</vt:lpstr>
      <vt:lpstr>think-cell Folie</vt:lpstr>
      <vt:lpstr>PowerPoint-Präsentation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ra Bartels</dc:creator>
  <cp:lastModifiedBy>Sandra Bartels</cp:lastModifiedBy>
  <cp:revision>3</cp:revision>
  <dcterms:created xsi:type="dcterms:W3CDTF">2017-01-24T10:19:30Z</dcterms:created>
  <dcterms:modified xsi:type="dcterms:W3CDTF">2017-01-24T12:26:46Z</dcterms:modified>
</cp:coreProperties>
</file>